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132739062" r:id="rId2"/>
    <p:sldId id="855" r:id="rId3"/>
  </p:sldIdLst>
  <p:sldSz cx="12192000" cy="6858000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5" d="100"/>
          <a:sy n="85" d="100"/>
        </p:scale>
        <p:origin x="59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6E0057-C573-4478-80C5-25CD79293F4C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7B2743-FA69-491D-BA9B-FB63C566867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222725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352270-9C69-4C00-8BBC-528EE98A7ABF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54636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A35DDD8-E264-D348-48A9-F82E4E363E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67F9CC1C-7AD6-D9BD-FD8B-0C9D9D79E6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957CDC8-3DED-23A7-AAE7-30CE37041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8EF2D-805A-4FC3-AAF4-F80CBDABACE9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AE96303-D94A-1D48-2F2E-1D42919F6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3467AEB4-6333-B669-3BE9-05199ACAD3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1DE70-51D3-4CF3-A9BD-AE250008E95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15988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BA64B28-8F8A-0AA0-5AAE-CA901C192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A20C6281-4509-A50C-AE2F-265F4A9693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851E097-233C-F82F-7DBB-022228B94A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8EF2D-805A-4FC3-AAF4-F80CBDABACE9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B2CEBDA-46F9-092D-2F90-724D2268B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93EED112-4D5C-EFCF-C40A-06FC24029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1DE70-51D3-4CF3-A9BD-AE250008E95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14286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8C6997A3-FA77-8508-8890-6129E22DDE0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E8BC8D19-80EF-1DBF-8043-21EE265EAA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20D24FFD-1E82-11D5-4B9A-0F6F15D636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8EF2D-805A-4FC3-AAF4-F80CBDABACE9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09CDB88-43FB-9AE7-6FDC-9A0080AD81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41F1393-D94B-EE46-55BC-A211A89CB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1DE70-51D3-4CF3-A9BD-AE250008E95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609183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BC0C113A-6C59-4921-B8D7-90483F1EF2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9766" y="6042111"/>
            <a:ext cx="815889" cy="815889"/>
          </a:xfrm>
          <a:prstGeom prst="rect">
            <a:avLst/>
          </a:prstGeom>
        </p:spPr>
      </p:pic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261A0FBA-DF36-4920-B8B4-6B1C5A711D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36775" y="6356350"/>
            <a:ext cx="2743200" cy="365125"/>
          </a:xfrm>
        </p:spPr>
        <p:txBody>
          <a:bodyPr/>
          <a:lstStyle>
            <a:lvl1pPr>
              <a:defRPr sz="1000">
                <a:solidFill>
                  <a:srgbClr val="00B0F0"/>
                </a:solidFill>
              </a:defRPr>
            </a:lvl1pPr>
          </a:lstStyle>
          <a:p>
            <a:r>
              <a:rPr lang="en-US" altLang="ja-JP" i="1"/>
              <a:t>Page</a:t>
            </a:r>
            <a:r>
              <a:rPr lang="en-US" altLang="ja-JP"/>
              <a:t> </a:t>
            </a:r>
            <a:fld id="{EA6240ED-61B8-45DB-BBA4-B3ED14BB456C}" type="slidenum">
              <a:rPr lang="ja-JP" altLang="en-US" smtClean="0"/>
              <a:pPr/>
              <a:t>‹#›</a:t>
            </a:fld>
            <a:endParaRPr lang="ja-JP" altLang="en-US"/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750DE788-567E-4DC9-A220-5EA4A012DDF9}"/>
              </a:ext>
            </a:extLst>
          </p:cNvPr>
          <p:cNvCxnSpPr/>
          <p:nvPr userDrawn="1"/>
        </p:nvCxnSpPr>
        <p:spPr>
          <a:xfrm>
            <a:off x="340822" y="656705"/>
            <a:ext cx="11563003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76BECF9A-4E9A-4438-929C-5E651A8CC973}"/>
              </a:ext>
            </a:extLst>
          </p:cNvPr>
          <p:cNvCxnSpPr/>
          <p:nvPr userDrawn="1"/>
        </p:nvCxnSpPr>
        <p:spPr>
          <a:xfrm>
            <a:off x="288175" y="6112625"/>
            <a:ext cx="11563003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フッター プレースホルダー 15">
            <a:extLst>
              <a:ext uri="{FF2B5EF4-FFF2-40B4-BE49-F238E27FC236}">
                <a16:creationId xmlns:a16="http://schemas.microsoft.com/office/drawing/2014/main" id="{B997642F-D226-4334-9711-B05ABA2B4C1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558741" y="6356350"/>
            <a:ext cx="5077620" cy="365125"/>
          </a:xfrm>
        </p:spPr>
        <p:txBody>
          <a:bodyPr/>
          <a:lstStyle>
            <a:lvl1pPr>
              <a:defRPr sz="700" i="0">
                <a:solidFill>
                  <a:srgbClr val="00B0F0"/>
                </a:solidFill>
              </a:defRPr>
            </a:lvl1pPr>
          </a:lstStyle>
          <a:p>
            <a:r>
              <a:rPr lang="en-US" altLang="ja-JP"/>
              <a:t>Copyright © Fighters Sports &amp; Entertainment Co., Ltd.</a:t>
            </a:r>
            <a:endParaRPr lang="ja-JP" altLang="en-US"/>
          </a:p>
        </p:txBody>
      </p:sp>
      <p:sp>
        <p:nvSpPr>
          <p:cNvPr id="17" name="日付プレースホルダー 16">
            <a:extLst>
              <a:ext uri="{FF2B5EF4-FFF2-40B4-BE49-F238E27FC236}">
                <a16:creationId xmlns:a16="http://schemas.microsoft.com/office/drawing/2014/main" id="{5FC90385-01CD-41EF-8CFC-FE5E4645433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3FAF69E-505D-4328-9294-408FA8F09C50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pic>
        <p:nvPicPr>
          <p:cNvPr id="5" name="図 4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06C075CD-20CA-4990-9701-51FCF397CD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92" t="10161" r="14780" b="12241"/>
          <a:stretch/>
        </p:blipFill>
        <p:spPr>
          <a:xfrm>
            <a:off x="11123795" y="47105"/>
            <a:ext cx="587829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46119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3A58F0F-5127-1EDF-064C-233018009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AD084424-B83F-A6CA-76E6-CFC365DE3C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911E571-0F61-272D-7C14-E628467EE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8EF2D-805A-4FC3-AAF4-F80CBDABACE9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82F6BB0E-4528-9219-13F5-CE2836D8A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04E2967-9458-2DB9-877E-5303501DD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1DE70-51D3-4CF3-A9BD-AE250008E95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100841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1EFC39C-2D8B-5D7E-4B17-3320C7634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BF423E3E-F9B4-0AAE-7E54-C0F60266CD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4C769A3-34F0-8654-E41D-843BFAB6AF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8EF2D-805A-4FC3-AAF4-F80CBDABACE9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1F6C8E1-F6A3-7C58-566E-C6A602733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490E126-F97C-85A2-C916-B46D4F0F4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1DE70-51D3-4CF3-A9BD-AE250008E95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966407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09233F4-1390-158D-C85E-614D44C83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4C103D7A-FC8F-DFAE-B648-8443B8EFC7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AA101A48-3E60-2CB3-8BFC-FC561BFDAE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4D59B96E-BFCD-7F87-8A82-4EC2606FC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8EF2D-805A-4FC3-AAF4-F80CBDABACE9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2371EC59-4B38-40BB-F68F-47FEB9CF7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0E69923F-9C32-7C2A-93AF-45CBED6CAE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1DE70-51D3-4CF3-A9BD-AE250008E95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819180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0AD181C-D707-4B32-9F03-138FC5EE4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E7D01F96-5D38-147D-D253-7FA9EB5CF1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0E46D8E6-9B84-92D6-C359-AEEAA7CF0E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6432564-4F56-5F08-75BA-225F57A3E1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B20250AD-1283-2EB3-9573-19570DB14C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17C9BF44-9A92-3BCC-01DE-1CF4603D98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8EF2D-805A-4FC3-AAF4-F80CBDABACE9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B306A42C-6D1E-C9B3-936E-2CFBC39159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6CAF06D7-C62F-BAE1-4278-456CE4A569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1DE70-51D3-4CF3-A9BD-AE250008E95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515089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1E04B5C-A01F-D746-2C8B-97B0793E7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4E2A0A85-C596-CEFB-FEE3-14F512CFF1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8EF2D-805A-4FC3-AAF4-F80CBDABACE9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9EF0D5B4-CD7E-D617-31BF-917CE9D33D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EDFB217F-189B-1FF2-C7AB-515630D2F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1DE70-51D3-4CF3-A9BD-AE250008E95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43460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C7F9352C-3EA2-9E0C-3EBC-0D9FD97641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8EF2D-805A-4FC3-AAF4-F80CBDABACE9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92413E65-3A76-D44D-0830-C41DD7770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5B5D2166-34E6-DAE6-2CE9-0916438378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1DE70-51D3-4CF3-A9BD-AE250008E95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32567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BEF6F6A-0057-355A-6ACF-4D5F32628F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33531804-6E8E-092B-F93A-973B42E426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6E532129-89C7-87BF-7F4F-2F691108ED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DF77D17C-5809-F04C-1A4C-298E27722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8EF2D-805A-4FC3-AAF4-F80CBDABACE9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2EA94E4-3092-2F91-F1F5-BDB14E61A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5052E2AC-EF04-1455-CA5E-E3896A48F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1DE70-51D3-4CF3-A9BD-AE250008E95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955512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1339E00-C38C-D70E-B493-76DF64474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69422EAB-064C-1127-641D-E65E2995E78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058665E2-AE2F-011D-EA9F-10AB011C39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62E0E3C3-082A-0778-BC75-71E8E3E30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8EF2D-805A-4FC3-AAF4-F80CBDABACE9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27B79FD9-9244-B80C-5BF4-D6F1AAD80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1F356EEA-C470-D036-604E-D6117FC28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91DE70-51D3-4CF3-A9BD-AE250008E95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009653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38406AF3-EC58-9E55-0D1C-17C0F6ECE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A111CC1-8775-DB42-B9AE-DD05949A49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4CAE856-6AD0-558B-FDBF-574E5AEAA1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D8EF2D-805A-4FC3-AAF4-F80CBDABACE9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052C6EE8-EE5E-2C02-FE97-162678A60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605FD17-8261-B8EA-DB7D-DFDC16AC9F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91DE70-51D3-4CF3-A9BD-AE250008E95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24146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スライド番号プレースホルダー 1">
            <a:extLst>
              <a:ext uri="{FF2B5EF4-FFF2-40B4-BE49-F238E27FC236}">
                <a16:creationId xmlns:a16="http://schemas.microsoft.com/office/drawing/2014/main" id="{1BC2666C-D65D-4215-A478-75EA4BD1C4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36775" y="6356350"/>
            <a:ext cx="2743200" cy="365125"/>
          </a:xfrm>
        </p:spPr>
        <p:txBody>
          <a:bodyPr/>
          <a:lstStyle/>
          <a:p>
            <a:r>
              <a:rPr lang="en-US" altLang="ja-JP" i="1"/>
              <a:t>Page</a:t>
            </a:r>
            <a:r>
              <a:rPr lang="en-US" altLang="ja-JP"/>
              <a:t> </a:t>
            </a:r>
            <a:fld id="{EA6240ED-61B8-45DB-BBA4-B3ED14BB456C}" type="slidenum">
              <a:rPr lang="ja-JP" altLang="en-US" smtClean="0"/>
              <a:pPr/>
              <a:t>1</a:t>
            </a:fld>
            <a:endParaRPr lang="ja-JP" altLang="en-US"/>
          </a:p>
        </p:txBody>
      </p:sp>
      <p:sp>
        <p:nvSpPr>
          <p:cNvPr id="14" name="フッター プレースホルダー 2">
            <a:extLst>
              <a:ext uri="{FF2B5EF4-FFF2-40B4-BE49-F238E27FC236}">
                <a16:creationId xmlns:a16="http://schemas.microsoft.com/office/drawing/2014/main" id="{A8C60A68-C552-4BD7-B015-2BC534FFD2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558741" y="6356350"/>
            <a:ext cx="5077620" cy="365125"/>
          </a:xfrm>
        </p:spPr>
        <p:txBody>
          <a:bodyPr/>
          <a:lstStyle/>
          <a:p>
            <a:r>
              <a:rPr lang="en-US" altLang="ja-JP" dirty="0"/>
              <a:t>Copyright © Fighters Sports &amp; Entertainment Co., Ltd.</a:t>
            </a:r>
            <a:endParaRPr lang="ja-JP" altLang="en-US" dirty="0"/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ED0BCB7-B3F0-41AA-AA31-B088E94BA532}"/>
              </a:ext>
            </a:extLst>
          </p:cNvPr>
          <p:cNvSpPr txBox="1"/>
          <p:nvPr/>
        </p:nvSpPr>
        <p:spPr>
          <a:xfrm>
            <a:off x="326527" y="262792"/>
            <a:ext cx="19143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キッチンカー場所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BAE5FF2C-5D1B-FC7E-E945-070ABADACA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527" y="791307"/>
            <a:ext cx="7868217" cy="4059713"/>
          </a:xfrm>
          <a:prstGeom prst="rect">
            <a:avLst/>
          </a:prstGeom>
        </p:spPr>
      </p:pic>
      <p:sp>
        <p:nvSpPr>
          <p:cNvPr id="6" name="楕円 5">
            <a:extLst>
              <a:ext uri="{FF2B5EF4-FFF2-40B4-BE49-F238E27FC236}">
                <a16:creationId xmlns:a16="http://schemas.microsoft.com/office/drawing/2014/main" id="{82793E00-664D-F8A3-08F8-53BB81F26E6E}"/>
              </a:ext>
            </a:extLst>
          </p:cNvPr>
          <p:cNvSpPr/>
          <p:nvPr/>
        </p:nvSpPr>
        <p:spPr>
          <a:xfrm rot="18901935">
            <a:off x="4286643" y="2963541"/>
            <a:ext cx="1980458" cy="639765"/>
          </a:xfrm>
          <a:prstGeom prst="ellipse">
            <a:avLst/>
          </a:prstGeom>
          <a:solidFill>
            <a:srgbClr val="FF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3FE8561D-94A1-715F-A44F-51A74D5300D3}"/>
              </a:ext>
            </a:extLst>
          </p:cNvPr>
          <p:cNvSpPr txBox="1"/>
          <p:nvPr/>
        </p:nvSpPr>
        <p:spPr>
          <a:xfrm>
            <a:off x="8255978" y="791307"/>
            <a:ext cx="3892062" cy="2462213"/>
          </a:xfrm>
          <a:prstGeom prst="rect">
            <a:avLst/>
          </a:prstGeom>
          <a:noFill/>
          <a:ln>
            <a:solidFill>
              <a:srgbClr val="69C9FF"/>
            </a:solidFill>
          </a:ln>
        </p:spPr>
        <p:txBody>
          <a:bodyPr wrap="square" rtlCol="0">
            <a:spAutoFit/>
          </a:bodyPr>
          <a:lstStyle/>
          <a:p>
            <a:r>
              <a:rPr lang="ja-JP" altLang="en-US" sz="1400" dirty="0"/>
              <a:t>◆デーゲーム</a:t>
            </a:r>
            <a:endParaRPr lang="en-US" altLang="ja-JP" sz="1400" dirty="0"/>
          </a:p>
          <a:p>
            <a:r>
              <a:rPr kumimoji="1" lang="ja-JP" altLang="en-US" sz="1400" dirty="0"/>
              <a:t>・開場時間に</a:t>
            </a:r>
            <a:r>
              <a:rPr kumimoji="1" lang="en-US" altLang="ja-JP" sz="1400" dirty="0"/>
              <a:t>OPEN</a:t>
            </a:r>
          </a:p>
          <a:p>
            <a:r>
              <a:rPr lang="ja-JP" altLang="en-US" sz="1400" dirty="0"/>
              <a:t>・</a:t>
            </a:r>
            <a:r>
              <a:rPr lang="en-US" altLang="ja-JP" sz="1400" dirty="0"/>
              <a:t>7</a:t>
            </a:r>
            <a:r>
              <a:rPr lang="ja-JP" altLang="en-US" sz="1400" dirty="0"/>
              <a:t>回終了時には終了</a:t>
            </a:r>
            <a:endParaRPr lang="en-US" altLang="ja-JP" sz="1400" dirty="0"/>
          </a:p>
          <a:p>
            <a:r>
              <a:rPr kumimoji="1" lang="ja-JP" altLang="en-US" sz="1400" dirty="0"/>
              <a:t>・球場内からのみアクセス可能（チケット必須）</a:t>
            </a:r>
            <a:endParaRPr kumimoji="1" lang="en-US" altLang="ja-JP" sz="1400" dirty="0"/>
          </a:p>
          <a:p>
            <a:endParaRPr kumimoji="1" lang="en-US" altLang="ja-JP" sz="1400" dirty="0"/>
          </a:p>
          <a:p>
            <a:r>
              <a:rPr lang="ja-JP" altLang="en-US" sz="1400" dirty="0"/>
              <a:t>◆ナイター</a:t>
            </a:r>
            <a:endParaRPr lang="en-US" altLang="ja-JP" sz="1400" dirty="0"/>
          </a:p>
          <a:p>
            <a:r>
              <a:rPr lang="en-US" altLang="ja-JP" sz="1400" dirty="0"/>
              <a:t>14:00</a:t>
            </a:r>
            <a:r>
              <a:rPr lang="ja-JP" altLang="en-US" sz="1400" dirty="0"/>
              <a:t>～</a:t>
            </a:r>
            <a:r>
              <a:rPr lang="en-US" altLang="ja-JP" sz="1400" dirty="0"/>
              <a:t>15:00</a:t>
            </a:r>
            <a:r>
              <a:rPr lang="ja-JP" altLang="en-US" sz="1400" dirty="0"/>
              <a:t>：全顧客アクセス可能</a:t>
            </a:r>
            <a:endParaRPr lang="en-US" altLang="ja-JP" sz="1400" dirty="0"/>
          </a:p>
          <a:p>
            <a:r>
              <a:rPr lang="en-US" altLang="ja-JP" sz="1400" dirty="0"/>
              <a:t>15:30</a:t>
            </a:r>
            <a:r>
              <a:rPr lang="ja-JP" altLang="en-US" sz="1400" dirty="0"/>
              <a:t>～</a:t>
            </a:r>
            <a:r>
              <a:rPr lang="en-US" altLang="ja-JP" sz="1400" dirty="0"/>
              <a:t>16:00</a:t>
            </a:r>
            <a:r>
              <a:rPr lang="ja-JP" altLang="en-US" sz="1400" dirty="0"/>
              <a:t>：顧客追い出し</a:t>
            </a:r>
            <a:endParaRPr lang="en-US" altLang="ja-JP" sz="1400" dirty="0"/>
          </a:p>
          <a:p>
            <a:r>
              <a:rPr lang="en-US" altLang="ja-JP" sz="1400" dirty="0"/>
              <a:t>16:00</a:t>
            </a:r>
            <a:r>
              <a:rPr lang="ja-JP" altLang="en-US" sz="1400" dirty="0"/>
              <a:t>～</a:t>
            </a:r>
            <a:r>
              <a:rPr lang="en-US" altLang="ja-JP" sz="1400" dirty="0"/>
              <a:t>7</a:t>
            </a:r>
            <a:r>
              <a:rPr lang="ja-JP" altLang="en-US" sz="1400" dirty="0"/>
              <a:t>回終了：球場内からのみアクセス可能</a:t>
            </a:r>
            <a:endParaRPr lang="en-US" altLang="ja-JP" sz="1400" dirty="0"/>
          </a:p>
          <a:p>
            <a:r>
              <a:rPr lang="en-US" altLang="ja-JP" sz="1400" dirty="0"/>
              <a:t>※16</a:t>
            </a:r>
            <a:r>
              <a:rPr lang="ja-JP" altLang="en-US" sz="1400" dirty="0"/>
              <a:t>時（開場）以降はチケット必須</a:t>
            </a:r>
            <a:endParaRPr lang="en-US" altLang="ja-JP" sz="1400" dirty="0"/>
          </a:p>
          <a:p>
            <a:endParaRPr kumimoji="1" lang="en-US" altLang="ja-JP" sz="1400" dirty="0"/>
          </a:p>
        </p:txBody>
      </p:sp>
    </p:spTree>
    <p:extLst>
      <p:ext uri="{BB962C8B-B14F-4D97-AF65-F5344CB8AC3E}">
        <p14:creationId xmlns:p14="http://schemas.microsoft.com/office/powerpoint/2010/main" val="17356251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FB96740C-C2F9-4AD7-95AF-91028D937BD4}"/>
              </a:ext>
            </a:extLst>
          </p:cNvPr>
          <p:cNvGrpSpPr/>
          <p:nvPr/>
        </p:nvGrpSpPr>
        <p:grpSpPr>
          <a:xfrm>
            <a:off x="1669097" y="941859"/>
            <a:ext cx="8853806" cy="4685358"/>
            <a:chOff x="145097" y="941859"/>
            <a:chExt cx="8853806" cy="4685358"/>
          </a:xfrm>
        </p:grpSpPr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D96622D4-8D30-45E1-8ABC-B39579AF7E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688"/>
            <a:stretch/>
          </p:blipFill>
          <p:spPr>
            <a:xfrm>
              <a:off x="145097" y="941859"/>
              <a:ext cx="8853806" cy="4685358"/>
            </a:xfrm>
            <a:prstGeom prst="rect">
              <a:avLst/>
            </a:prstGeom>
            <a:noFill/>
            <a:ln w="3175">
              <a:noFill/>
            </a:ln>
          </p:spPr>
        </p:pic>
        <p:sp>
          <p:nvSpPr>
            <p:cNvPr id="2" name="フリーフォーム: 図形 1">
              <a:extLst>
                <a:ext uri="{FF2B5EF4-FFF2-40B4-BE49-F238E27FC236}">
                  <a16:creationId xmlns:a16="http://schemas.microsoft.com/office/drawing/2014/main" id="{17CD0528-ABF5-442F-8E27-E8BB4230751F}"/>
                </a:ext>
              </a:extLst>
            </p:cNvPr>
            <p:cNvSpPr/>
            <p:nvPr/>
          </p:nvSpPr>
          <p:spPr>
            <a:xfrm>
              <a:off x="2559050" y="3686175"/>
              <a:ext cx="841375" cy="393700"/>
            </a:xfrm>
            <a:custGeom>
              <a:avLst/>
              <a:gdLst>
                <a:gd name="connsiteX0" fmla="*/ 0 w 841375"/>
                <a:gd name="connsiteY0" fmla="*/ 279400 h 393700"/>
                <a:gd name="connsiteX1" fmla="*/ 22225 w 841375"/>
                <a:gd name="connsiteY1" fmla="*/ 393700 h 393700"/>
                <a:gd name="connsiteX2" fmla="*/ 841375 w 841375"/>
                <a:gd name="connsiteY2" fmla="*/ 92075 h 393700"/>
                <a:gd name="connsiteX3" fmla="*/ 812800 w 841375"/>
                <a:gd name="connsiteY3" fmla="*/ 0 h 393700"/>
                <a:gd name="connsiteX4" fmla="*/ 0 w 841375"/>
                <a:gd name="connsiteY4" fmla="*/ 279400 h 39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1375" h="393700">
                  <a:moveTo>
                    <a:pt x="0" y="279400"/>
                  </a:moveTo>
                  <a:lnTo>
                    <a:pt x="22225" y="393700"/>
                  </a:lnTo>
                  <a:lnTo>
                    <a:pt x="841375" y="92075"/>
                  </a:lnTo>
                  <a:lnTo>
                    <a:pt x="812800" y="0"/>
                  </a:lnTo>
                  <a:lnTo>
                    <a:pt x="0" y="2794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/>
            </a:p>
          </p:txBody>
        </p:sp>
      </p:grpSp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38D88297-DF5C-46BD-9FFF-FAB1CD185A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38D88297-DF5C-46BD-9FFF-FAB1CD185A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CF9CF74D-48A8-494A-84AD-2274FEF378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zh-TW" altLang="en-US" sz="22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  <a:sym typeface="メイリオ" panose="020B0604030504040204" pitchFamily="50" charset="-128"/>
            </a:endParaRPr>
          </a:p>
        </p:txBody>
      </p:sp>
      <p:sp>
        <p:nvSpPr>
          <p:cNvPr id="10" name="Text Box 2">
            <a:extLst>
              <a:ext uri="{FF2B5EF4-FFF2-40B4-BE49-F238E27FC236}">
                <a16:creationId xmlns:a16="http://schemas.microsoft.com/office/drawing/2014/main" id="{44153A6E-242E-4590-C189-81C608A1FF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4221" y="148048"/>
            <a:ext cx="765765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>
              <a:spcBef>
                <a:spcPct val="50000"/>
              </a:spcBef>
            </a:pPr>
            <a:r>
              <a: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配置イメージ（入場開始時）</a:t>
            </a:r>
            <a:endParaRPr kumimoji="0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1" name="フリーフォーム: 図形 10">
            <a:extLst>
              <a:ext uri="{FF2B5EF4-FFF2-40B4-BE49-F238E27FC236}">
                <a16:creationId xmlns:a16="http://schemas.microsoft.com/office/drawing/2014/main" id="{A5FB4129-8A5D-41A6-8513-3A5DC217C3C7}"/>
              </a:ext>
            </a:extLst>
          </p:cNvPr>
          <p:cNvSpPr/>
          <p:nvPr/>
        </p:nvSpPr>
        <p:spPr>
          <a:xfrm>
            <a:off x="3632201" y="2819400"/>
            <a:ext cx="526040" cy="1079500"/>
          </a:xfrm>
          <a:custGeom>
            <a:avLst/>
            <a:gdLst>
              <a:gd name="connsiteX0" fmla="*/ 304800 w 463550"/>
              <a:gd name="connsiteY0" fmla="*/ 0 h 1079500"/>
              <a:gd name="connsiteX1" fmla="*/ 463550 w 463550"/>
              <a:gd name="connsiteY1" fmla="*/ 482600 h 1079500"/>
              <a:gd name="connsiteX2" fmla="*/ 368300 w 463550"/>
              <a:gd name="connsiteY2" fmla="*/ 952500 h 1079500"/>
              <a:gd name="connsiteX3" fmla="*/ 0 w 463550"/>
              <a:gd name="connsiteY3" fmla="*/ 1079500 h 1079500"/>
              <a:gd name="connsiteX0" fmla="*/ 304800 w 491097"/>
              <a:gd name="connsiteY0" fmla="*/ 0 h 1079500"/>
              <a:gd name="connsiteX1" fmla="*/ 463550 w 491097"/>
              <a:gd name="connsiteY1" fmla="*/ 482600 h 1079500"/>
              <a:gd name="connsiteX2" fmla="*/ 368300 w 491097"/>
              <a:gd name="connsiteY2" fmla="*/ 952500 h 1079500"/>
              <a:gd name="connsiteX3" fmla="*/ 0 w 491097"/>
              <a:gd name="connsiteY3" fmla="*/ 1079500 h 1079500"/>
              <a:gd name="connsiteX0" fmla="*/ 304800 w 526040"/>
              <a:gd name="connsiteY0" fmla="*/ 0 h 1079500"/>
              <a:gd name="connsiteX1" fmla="*/ 463550 w 526040"/>
              <a:gd name="connsiteY1" fmla="*/ 482600 h 1079500"/>
              <a:gd name="connsiteX2" fmla="*/ 368300 w 526040"/>
              <a:gd name="connsiteY2" fmla="*/ 952500 h 1079500"/>
              <a:gd name="connsiteX3" fmla="*/ 0 w 526040"/>
              <a:gd name="connsiteY3" fmla="*/ 1079500 h 107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6040" h="1079500">
                <a:moveTo>
                  <a:pt x="304800" y="0"/>
                </a:moveTo>
                <a:lnTo>
                  <a:pt x="463550" y="482600"/>
                </a:lnTo>
                <a:cubicBezTo>
                  <a:pt x="529431" y="694002"/>
                  <a:pt x="595312" y="869685"/>
                  <a:pt x="368300" y="952500"/>
                </a:cubicBezTo>
                <a:lnTo>
                  <a:pt x="0" y="1079500"/>
                </a:lnTo>
              </a:path>
            </a:pathLst>
          </a:custGeom>
          <a:noFill/>
          <a:ln w="1905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sp>
        <p:nvSpPr>
          <p:cNvPr id="13" name="フリーフォーム: 図形 12">
            <a:extLst>
              <a:ext uri="{FF2B5EF4-FFF2-40B4-BE49-F238E27FC236}">
                <a16:creationId xmlns:a16="http://schemas.microsoft.com/office/drawing/2014/main" id="{754E6877-0F3A-4BB9-BF71-F03FB941EC40}"/>
              </a:ext>
            </a:extLst>
          </p:cNvPr>
          <p:cNvSpPr/>
          <p:nvPr/>
        </p:nvSpPr>
        <p:spPr>
          <a:xfrm>
            <a:off x="4254500" y="1117600"/>
            <a:ext cx="590550" cy="406400"/>
          </a:xfrm>
          <a:custGeom>
            <a:avLst/>
            <a:gdLst>
              <a:gd name="connsiteX0" fmla="*/ 0 w 590550"/>
              <a:gd name="connsiteY0" fmla="*/ 406400 h 406400"/>
              <a:gd name="connsiteX1" fmla="*/ 139700 w 590550"/>
              <a:gd name="connsiteY1" fmla="*/ 0 h 406400"/>
              <a:gd name="connsiteX2" fmla="*/ 590550 w 590550"/>
              <a:gd name="connsiteY2" fmla="*/ 203200 h 40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0550" h="406400">
                <a:moveTo>
                  <a:pt x="0" y="406400"/>
                </a:moveTo>
                <a:lnTo>
                  <a:pt x="139700" y="0"/>
                </a:lnTo>
                <a:lnTo>
                  <a:pt x="590550" y="203200"/>
                </a:lnTo>
              </a:path>
            </a:pathLst>
          </a:custGeom>
          <a:noFill/>
          <a:ln w="1905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sp>
        <p:nvSpPr>
          <p:cNvPr id="19" name="フリーフォーム: 図形 18">
            <a:extLst>
              <a:ext uri="{FF2B5EF4-FFF2-40B4-BE49-F238E27FC236}">
                <a16:creationId xmlns:a16="http://schemas.microsoft.com/office/drawing/2014/main" id="{C2EFD2C8-A1AA-4BB5-9367-CA330079272A}"/>
              </a:ext>
            </a:extLst>
          </p:cNvPr>
          <p:cNvSpPr/>
          <p:nvPr/>
        </p:nvSpPr>
        <p:spPr>
          <a:xfrm>
            <a:off x="8007350" y="1879601"/>
            <a:ext cx="476250" cy="1382713"/>
          </a:xfrm>
          <a:custGeom>
            <a:avLst/>
            <a:gdLst>
              <a:gd name="connsiteX0" fmla="*/ 495300 w 495300"/>
              <a:gd name="connsiteY0" fmla="*/ 1339850 h 1339850"/>
              <a:gd name="connsiteX1" fmla="*/ 273050 w 495300"/>
              <a:gd name="connsiteY1" fmla="*/ 120650 h 1339850"/>
              <a:gd name="connsiteX2" fmla="*/ 0 w 495300"/>
              <a:gd name="connsiteY2" fmla="*/ 0 h 1339850"/>
              <a:gd name="connsiteX0" fmla="*/ 495300 w 495300"/>
              <a:gd name="connsiteY0" fmla="*/ 1339850 h 1339850"/>
              <a:gd name="connsiteX1" fmla="*/ 230188 w 495300"/>
              <a:gd name="connsiteY1" fmla="*/ 115887 h 1339850"/>
              <a:gd name="connsiteX2" fmla="*/ 0 w 495300"/>
              <a:gd name="connsiteY2" fmla="*/ 0 h 1339850"/>
              <a:gd name="connsiteX0" fmla="*/ 495300 w 495300"/>
              <a:gd name="connsiteY0" fmla="*/ 1339850 h 1339850"/>
              <a:gd name="connsiteX1" fmla="*/ 230188 w 495300"/>
              <a:gd name="connsiteY1" fmla="*/ 115887 h 1339850"/>
              <a:gd name="connsiteX2" fmla="*/ 0 w 495300"/>
              <a:gd name="connsiteY2" fmla="*/ 0 h 1339850"/>
              <a:gd name="connsiteX0" fmla="*/ 495300 w 495300"/>
              <a:gd name="connsiteY0" fmla="*/ 1339850 h 1339850"/>
              <a:gd name="connsiteX1" fmla="*/ 230188 w 495300"/>
              <a:gd name="connsiteY1" fmla="*/ 115887 h 1339850"/>
              <a:gd name="connsiteX2" fmla="*/ 0 w 495300"/>
              <a:gd name="connsiteY2" fmla="*/ 0 h 1339850"/>
              <a:gd name="connsiteX0" fmla="*/ 476250 w 476250"/>
              <a:gd name="connsiteY0" fmla="*/ 1382713 h 1382713"/>
              <a:gd name="connsiteX1" fmla="*/ 230188 w 476250"/>
              <a:gd name="connsiteY1" fmla="*/ 115887 h 1382713"/>
              <a:gd name="connsiteX2" fmla="*/ 0 w 476250"/>
              <a:gd name="connsiteY2" fmla="*/ 0 h 1382713"/>
              <a:gd name="connsiteX0" fmla="*/ 476250 w 476250"/>
              <a:gd name="connsiteY0" fmla="*/ 1382713 h 1382713"/>
              <a:gd name="connsiteX1" fmla="*/ 230188 w 476250"/>
              <a:gd name="connsiteY1" fmla="*/ 115887 h 1382713"/>
              <a:gd name="connsiteX2" fmla="*/ 0 w 476250"/>
              <a:gd name="connsiteY2" fmla="*/ 0 h 1382713"/>
              <a:gd name="connsiteX0" fmla="*/ 476250 w 476250"/>
              <a:gd name="connsiteY0" fmla="*/ 1382713 h 1382713"/>
              <a:gd name="connsiteX1" fmla="*/ 230188 w 476250"/>
              <a:gd name="connsiteY1" fmla="*/ 115887 h 1382713"/>
              <a:gd name="connsiteX2" fmla="*/ 0 w 476250"/>
              <a:gd name="connsiteY2" fmla="*/ 0 h 1382713"/>
              <a:gd name="connsiteX0" fmla="*/ 476250 w 476250"/>
              <a:gd name="connsiteY0" fmla="*/ 1382713 h 1382713"/>
              <a:gd name="connsiteX1" fmla="*/ 192088 w 476250"/>
              <a:gd name="connsiteY1" fmla="*/ 96837 h 1382713"/>
              <a:gd name="connsiteX2" fmla="*/ 0 w 476250"/>
              <a:gd name="connsiteY2" fmla="*/ 0 h 1382713"/>
              <a:gd name="connsiteX0" fmla="*/ 476250 w 476250"/>
              <a:gd name="connsiteY0" fmla="*/ 1382713 h 1382713"/>
              <a:gd name="connsiteX1" fmla="*/ 192088 w 476250"/>
              <a:gd name="connsiteY1" fmla="*/ 96837 h 1382713"/>
              <a:gd name="connsiteX2" fmla="*/ 0 w 476250"/>
              <a:gd name="connsiteY2" fmla="*/ 0 h 1382713"/>
              <a:gd name="connsiteX0" fmla="*/ 476250 w 476250"/>
              <a:gd name="connsiteY0" fmla="*/ 1382713 h 1382713"/>
              <a:gd name="connsiteX1" fmla="*/ 192088 w 476250"/>
              <a:gd name="connsiteY1" fmla="*/ 96837 h 1382713"/>
              <a:gd name="connsiteX2" fmla="*/ 0 w 476250"/>
              <a:gd name="connsiteY2" fmla="*/ 0 h 138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6250" h="1382713">
                <a:moveTo>
                  <a:pt x="476250" y="1382713"/>
                </a:moveTo>
                <a:cubicBezTo>
                  <a:pt x="425979" y="1008062"/>
                  <a:pt x="309034" y="157163"/>
                  <a:pt x="192088" y="96837"/>
                </a:cubicBezTo>
                <a:lnTo>
                  <a:pt x="0" y="0"/>
                </a:lnTo>
              </a:path>
            </a:pathLst>
          </a:custGeom>
          <a:noFill/>
          <a:ln w="1905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sp>
        <p:nvSpPr>
          <p:cNvPr id="20" name="フリーフォーム: 図形 19">
            <a:extLst>
              <a:ext uri="{FF2B5EF4-FFF2-40B4-BE49-F238E27FC236}">
                <a16:creationId xmlns:a16="http://schemas.microsoft.com/office/drawing/2014/main" id="{5F8140A4-0518-477A-A39D-576F16922507}"/>
              </a:ext>
            </a:extLst>
          </p:cNvPr>
          <p:cNvSpPr/>
          <p:nvPr/>
        </p:nvSpPr>
        <p:spPr>
          <a:xfrm>
            <a:off x="6413500" y="1481469"/>
            <a:ext cx="1382712" cy="339394"/>
          </a:xfrm>
          <a:custGeom>
            <a:avLst/>
            <a:gdLst>
              <a:gd name="connsiteX0" fmla="*/ 0 w 1301750"/>
              <a:gd name="connsiteY0" fmla="*/ 0 h 292100"/>
              <a:gd name="connsiteX1" fmla="*/ 1301750 w 1301750"/>
              <a:gd name="connsiteY1" fmla="*/ 292100 h 292100"/>
              <a:gd name="connsiteX0" fmla="*/ 0 w 1301750"/>
              <a:gd name="connsiteY0" fmla="*/ 0 h 292100"/>
              <a:gd name="connsiteX1" fmla="*/ 1301750 w 1301750"/>
              <a:gd name="connsiteY1" fmla="*/ 292100 h 292100"/>
              <a:gd name="connsiteX0" fmla="*/ 0 w 1301750"/>
              <a:gd name="connsiteY0" fmla="*/ 1518 h 293618"/>
              <a:gd name="connsiteX1" fmla="*/ 1301750 w 1301750"/>
              <a:gd name="connsiteY1" fmla="*/ 293618 h 293618"/>
              <a:gd name="connsiteX0" fmla="*/ 0 w 1301750"/>
              <a:gd name="connsiteY0" fmla="*/ 3460 h 295560"/>
              <a:gd name="connsiteX1" fmla="*/ 1301750 w 1301750"/>
              <a:gd name="connsiteY1" fmla="*/ 295560 h 295560"/>
              <a:gd name="connsiteX0" fmla="*/ 0 w 1382712"/>
              <a:gd name="connsiteY0" fmla="*/ 2484 h 337447"/>
              <a:gd name="connsiteX1" fmla="*/ 1382712 w 1382712"/>
              <a:gd name="connsiteY1" fmla="*/ 337447 h 337447"/>
              <a:gd name="connsiteX0" fmla="*/ 0 w 1382712"/>
              <a:gd name="connsiteY0" fmla="*/ 3411 h 338374"/>
              <a:gd name="connsiteX1" fmla="*/ 1382712 w 1382712"/>
              <a:gd name="connsiteY1" fmla="*/ 338374 h 338374"/>
              <a:gd name="connsiteX0" fmla="*/ 0 w 1382712"/>
              <a:gd name="connsiteY0" fmla="*/ 4431 h 339394"/>
              <a:gd name="connsiteX1" fmla="*/ 1382712 w 1382712"/>
              <a:gd name="connsiteY1" fmla="*/ 339394 h 33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82712" h="339394">
                <a:moveTo>
                  <a:pt x="0" y="4431"/>
                </a:moveTo>
                <a:cubicBezTo>
                  <a:pt x="753005" y="-17265"/>
                  <a:pt x="834496" y="32477"/>
                  <a:pt x="1382712" y="339394"/>
                </a:cubicBezTo>
              </a:path>
            </a:pathLst>
          </a:custGeom>
          <a:noFill/>
          <a:ln w="1905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sp>
        <p:nvSpPr>
          <p:cNvPr id="21" name="フリーフォーム: 図形 20">
            <a:extLst>
              <a:ext uri="{FF2B5EF4-FFF2-40B4-BE49-F238E27FC236}">
                <a16:creationId xmlns:a16="http://schemas.microsoft.com/office/drawing/2014/main" id="{9ED3C9CD-50C0-4C7C-B77D-1E45F5805870}"/>
              </a:ext>
            </a:extLst>
          </p:cNvPr>
          <p:cNvSpPr/>
          <p:nvPr/>
        </p:nvSpPr>
        <p:spPr>
          <a:xfrm>
            <a:off x="8832850" y="2038352"/>
            <a:ext cx="1219200" cy="350571"/>
          </a:xfrm>
          <a:custGeom>
            <a:avLst/>
            <a:gdLst>
              <a:gd name="connsiteX0" fmla="*/ 0 w 1187450"/>
              <a:gd name="connsiteY0" fmla="*/ 311150 h 311150"/>
              <a:gd name="connsiteX1" fmla="*/ 0 w 1187450"/>
              <a:gd name="connsiteY1" fmla="*/ 311150 h 311150"/>
              <a:gd name="connsiteX2" fmla="*/ 1187450 w 1187450"/>
              <a:gd name="connsiteY2" fmla="*/ 0 h 311150"/>
              <a:gd name="connsiteX0" fmla="*/ 0 w 1187450"/>
              <a:gd name="connsiteY0" fmla="*/ 311150 h 311150"/>
              <a:gd name="connsiteX1" fmla="*/ 0 w 1187450"/>
              <a:gd name="connsiteY1" fmla="*/ 311150 h 311150"/>
              <a:gd name="connsiteX2" fmla="*/ 1187450 w 1187450"/>
              <a:gd name="connsiteY2" fmla="*/ 0 h 311150"/>
              <a:gd name="connsiteX0" fmla="*/ 0 w 1187450"/>
              <a:gd name="connsiteY0" fmla="*/ 311150 h 333375"/>
              <a:gd name="connsiteX1" fmla="*/ 415925 w 1187450"/>
              <a:gd name="connsiteY1" fmla="*/ 333375 h 333375"/>
              <a:gd name="connsiteX2" fmla="*/ 1187450 w 1187450"/>
              <a:gd name="connsiteY2" fmla="*/ 0 h 333375"/>
              <a:gd name="connsiteX0" fmla="*/ 0 w 1187450"/>
              <a:gd name="connsiteY0" fmla="*/ 311150 h 346582"/>
              <a:gd name="connsiteX1" fmla="*/ 415925 w 1187450"/>
              <a:gd name="connsiteY1" fmla="*/ 333375 h 346582"/>
              <a:gd name="connsiteX2" fmla="*/ 1187450 w 1187450"/>
              <a:gd name="connsiteY2" fmla="*/ 0 h 346582"/>
              <a:gd name="connsiteX0" fmla="*/ 0 w 1219200"/>
              <a:gd name="connsiteY0" fmla="*/ 307975 h 352161"/>
              <a:gd name="connsiteX1" fmla="*/ 447675 w 1219200"/>
              <a:gd name="connsiteY1" fmla="*/ 333375 h 352161"/>
              <a:gd name="connsiteX2" fmla="*/ 1219200 w 1219200"/>
              <a:gd name="connsiteY2" fmla="*/ 0 h 352161"/>
              <a:gd name="connsiteX0" fmla="*/ 0 w 1219200"/>
              <a:gd name="connsiteY0" fmla="*/ 307975 h 360731"/>
              <a:gd name="connsiteX1" fmla="*/ 447675 w 1219200"/>
              <a:gd name="connsiteY1" fmla="*/ 333375 h 360731"/>
              <a:gd name="connsiteX2" fmla="*/ 1219200 w 1219200"/>
              <a:gd name="connsiteY2" fmla="*/ 0 h 360731"/>
              <a:gd name="connsiteX0" fmla="*/ 0 w 1219200"/>
              <a:gd name="connsiteY0" fmla="*/ 307975 h 360731"/>
              <a:gd name="connsiteX1" fmla="*/ 447675 w 1219200"/>
              <a:gd name="connsiteY1" fmla="*/ 333375 h 360731"/>
              <a:gd name="connsiteX2" fmla="*/ 1219200 w 1219200"/>
              <a:gd name="connsiteY2" fmla="*/ 0 h 360731"/>
              <a:gd name="connsiteX0" fmla="*/ 0 w 1219200"/>
              <a:gd name="connsiteY0" fmla="*/ 307975 h 354501"/>
              <a:gd name="connsiteX1" fmla="*/ 460375 w 1219200"/>
              <a:gd name="connsiteY1" fmla="*/ 323850 h 354501"/>
              <a:gd name="connsiteX2" fmla="*/ 1219200 w 1219200"/>
              <a:gd name="connsiteY2" fmla="*/ 0 h 354501"/>
              <a:gd name="connsiteX0" fmla="*/ 0 w 1219200"/>
              <a:gd name="connsiteY0" fmla="*/ 307975 h 350571"/>
              <a:gd name="connsiteX1" fmla="*/ 460375 w 1219200"/>
              <a:gd name="connsiteY1" fmla="*/ 323850 h 350571"/>
              <a:gd name="connsiteX2" fmla="*/ 1219200 w 1219200"/>
              <a:gd name="connsiteY2" fmla="*/ 0 h 350571"/>
              <a:gd name="connsiteX0" fmla="*/ 0 w 1219200"/>
              <a:gd name="connsiteY0" fmla="*/ 307975 h 350571"/>
              <a:gd name="connsiteX1" fmla="*/ 460375 w 1219200"/>
              <a:gd name="connsiteY1" fmla="*/ 323850 h 350571"/>
              <a:gd name="connsiteX2" fmla="*/ 1219200 w 1219200"/>
              <a:gd name="connsiteY2" fmla="*/ 0 h 350571"/>
              <a:gd name="connsiteX0" fmla="*/ 0 w 1219200"/>
              <a:gd name="connsiteY0" fmla="*/ 308119 h 350715"/>
              <a:gd name="connsiteX1" fmla="*/ 460375 w 1219200"/>
              <a:gd name="connsiteY1" fmla="*/ 323994 h 350715"/>
              <a:gd name="connsiteX2" fmla="*/ 1219200 w 1219200"/>
              <a:gd name="connsiteY2" fmla="*/ 144 h 350715"/>
              <a:gd name="connsiteX0" fmla="*/ 0 w 1219200"/>
              <a:gd name="connsiteY0" fmla="*/ 308119 h 350715"/>
              <a:gd name="connsiteX1" fmla="*/ 460375 w 1219200"/>
              <a:gd name="connsiteY1" fmla="*/ 323994 h 350715"/>
              <a:gd name="connsiteX2" fmla="*/ 1219200 w 1219200"/>
              <a:gd name="connsiteY2" fmla="*/ 144 h 350715"/>
              <a:gd name="connsiteX0" fmla="*/ 0 w 1219200"/>
              <a:gd name="connsiteY0" fmla="*/ 307975 h 350571"/>
              <a:gd name="connsiteX1" fmla="*/ 460375 w 1219200"/>
              <a:gd name="connsiteY1" fmla="*/ 323850 h 350571"/>
              <a:gd name="connsiteX2" fmla="*/ 1219200 w 1219200"/>
              <a:gd name="connsiteY2" fmla="*/ 0 h 350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9200" h="350571">
                <a:moveTo>
                  <a:pt x="0" y="307975"/>
                </a:moveTo>
                <a:cubicBezTo>
                  <a:pt x="135467" y="356658"/>
                  <a:pt x="255048" y="365868"/>
                  <a:pt x="460375" y="323850"/>
                </a:cubicBezTo>
                <a:cubicBezTo>
                  <a:pt x="711200" y="272521"/>
                  <a:pt x="899583" y="17992"/>
                  <a:pt x="1219200" y="0"/>
                </a:cubicBezTo>
              </a:path>
            </a:pathLst>
          </a:custGeom>
          <a:noFill/>
          <a:ln w="1905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3" name="フリーフォーム: 図形 22">
            <a:extLst>
              <a:ext uri="{FF2B5EF4-FFF2-40B4-BE49-F238E27FC236}">
                <a16:creationId xmlns:a16="http://schemas.microsoft.com/office/drawing/2014/main" id="{7EC60D7E-BE7D-410B-859C-4EF3C58C8430}"/>
              </a:ext>
            </a:extLst>
          </p:cNvPr>
          <p:cNvSpPr/>
          <p:nvPr/>
        </p:nvSpPr>
        <p:spPr>
          <a:xfrm>
            <a:off x="5128260" y="2834640"/>
            <a:ext cx="3208020" cy="571500"/>
          </a:xfrm>
          <a:custGeom>
            <a:avLst/>
            <a:gdLst>
              <a:gd name="connsiteX0" fmla="*/ 0 w 3208020"/>
              <a:gd name="connsiteY0" fmla="*/ 365760 h 571500"/>
              <a:gd name="connsiteX1" fmla="*/ 76200 w 3208020"/>
              <a:gd name="connsiteY1" fmla="*/ 571500 h 571500"/>
              <a:gd name="connsiteX2" fmla="*/ 982980 w 3208020"/>
              <a:gd name="connsiteY2" fmla="*/ 228600 h 571500"/>
              <a:gd name="connsiteX3" fmla="*/ 3200400 w 3208020"/>
              <a:gd name="connsiteY3" fmla="*/ 426720 h 571500"/>
              <a:gd name="connsiteX4" fmla="*/ 3208020 w 3208020"/>
              <a:gd name="connsiteY4" fmla="*/ 228600 h 571500"/>
              <a:gd name="connsiteX5" fmla="*/ 922020 w 3208020"/>
              <a:gd name="connsiteY5" fmla="*/ 0 h 571500"/>
              <a:gd name="connsiteX6" fmla="*/ 0 w 3208020"/>
              <a:gd name="connsiteY6" fmla="*/ 36576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08020" h="571500">
                <a:moveTo>
                  <a:pt x="0" y="365760"/>
                </a:moveTo>
                <a:lnTo>
                  <a:pt x="76200" y="571500"/>
                </a:lnTo>
                <a:lnTo>
                  <a:pt x="982980" y="228600"/>
                </a:lnTo>
                <a:lnTo>
                  <a:pt x="3200400" y="426720"/>
                </a:lnTo>
                <a:lnTo>
                  <a:pt x="3208020" y="228600"/>
                </a:lnTo>
                <a:lnTo>
                  <a:pt x="922020" y="0"/>
                </a:lnTo>
                <a:lnTo>
                  <a:pt x="0" y="365760"/>
                </a:lnTo>
                <a:close/>
              </a:path>
            </a:pathLst>
          </a:custGeom>
          <a:solidFill>
            <a:srgbClr val="00B0F0">
              <a:alpha val="11000"/>
            </a:srgbClr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69ACFA3B-700B-4336-9250-C38214CCFB70}"/>
              </a:ext>
            </a:extLst>
          </p:cNvPr>
          <p:cNvSpPr/>
          <p:nvPr/>
        </p:nvSpPr>
        <p:spPr>
          <a:xfrm rot="20336590">
            <a:off x="4456710" y="3378936"/>
            <a:ext cx="474517" cy="295182"/>
          </a:xfrm>
          <a:custGeom>
            <a:avLst/>
            <a:gdLst>
              <a:gd name="connsiteX0" fmla="*/ 0 w 463405"/>
              <a:gd name="connsiteY0" fmla="*/ 0 h 295182"/>
              <a:gd name="connsiteX1" fmla="*/ 463405 w 463405"/>
              <a:gd name="connsiteY1" fmla="*/ 0 h 295182"/>
              <a:gd name="connsiteX2" fmla="*/ 463405 w 463405"/>
              <a:gd name="connsiteY2" fmla="*/ 295182 h 295182"/>
              <a:gd name="connsiteX3" fmla="*/ 0 w 463405"/>
              <a:gd name="connsiteY3" fmla="*/ 295182 h 295182"/>
              <a:gd name="connsiteX4" fmla="*/ 0 w 463405"/>
              <a:gd name="connsiteY4" fmla="*/ 0 h 295182"/>
              <a:gd name="connsiteX0" fmla="*/ 11112 w 474517"/>
              <a:gd name="connsiteY0" fmla="*/ 0 h 295182"/>
              <a:gd name="connsiteX1" fmla="*/ 474517 w 474517"/>
              <a:gd name="connsiteY1" fmla="*/ 0 h 295182"/>
              <a:gd name="connsiteX2" fmla="*/ 474517 w 474517"/>
              <a:gd name="connsiteY2" fmla="*/ 295182 h 295182"/>
              <a:gd name="connsiteX3" fmla="*/ 0 w 474517"/>
              <a:gd name="connsiteY3" fmla="*/ 290904 h 295182"/>
              <a:gd name="connsiteX4" fmla="*/ 11112 w 474517"/>
              <a:gd name="connsiteY4" fmla="*/ 0 h 29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517" h="295182">
                <a:moveTo>
                  <a:pt x="11112" y="0"/>
                </a:moveTo>
                <a:lnTo>
                  <a:pt x="474517" y="0"/>
                </a:lnTo>
                <a:lnTo>
                  <a:pt x="474517" y="295182"/>
                </a:lnTo>
                <a:lnTo>
                  <a:pt x="0" y="290904"/>
                </a:lnTo>
                <a:lnTo>
                  <a:pt x="11112" y="0"/>
                </a:lnTo>
                <a:close/>
              </a:path>
            </a:pathLst>
          </a:custGeom>
          <a:solidFill>
            <a:srgbClr val="FFC000">
              <a:alpha val="59000"/>
            </a:srgbClr>
          </a:solidFill>
          <a:ln w="31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4C622DF-C965-42D5-816A-764276D7D493}"/>
              </a:ext>
            </a:extLst>
          </p:cNvPr>
          <p:cNvSpPr txBox="1"/>
          <p:nvPr/>
        </p:nvSpPr>
        <p:spPr>
          <a:xfrm>
            <a:off x="4357213" y="2293423"/>
            <a:ext cx="768406" cy="234286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r>
              <a:rPr lang="ja-JP" altLang="en-US" sz="1050" dirty="0">
                <a:latin typeface="Meiryo UI" panose="020B0604030504040204" pitchFamily="50" charset="-128"/>
                <a:ea typeface="Meiryo UI" panose="020B0604030504040204" pitchFamily="50" charset="-128"/>
              </a:rPr>
              <a:t>予備スペース</a:t>
            </a:r>
          </a:p>
        </p:txBody>
      </p:sp>
      <p:sp>
        <p:nvSpPr>
          <p:cNvPr id="41" name="フリーフォーム: 図形 40">
            <a:extLst>
              <a:ext uri="{FF2B5EF4-FFF2-40B4-BE49-F238E27FC236}">
                <a16:creationId xmlns:a16="http://schemas.microsoft.com/office/drawing/2014/main" id="{A6CA8AAF-24A2-43D8-A7BC-FB1BDB214E8D}"/>
              </a:ext>
            </a:extLst>
          </p:cNvPr>
          <p:cNvSpPr/>
          <p:nvPr/>
        </p:nvSpPr>
        <p:spPr>
          <a:xfrm flipH="1">
            <a:off x="4674355" y="2501108"/>
            <a:ext cx="439022" cy="1047906"/>
          </a:xfrm>
          <a:custGeom>
            <a:avLst/>
            <a:gdLst>
              <a:gd name="connsiteX0" fmla="*/ 1000125 w 1000125"/>
              <a:gd name="connsiteY0" fmla="*/ 571500 h 571500"/>
              <a:gd name="connsiteX1" fmla="*/ 0 w 1000125"/>
              <a:gd name="connsiteY1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0125" h="571500">
                <a:moveTo>
                  <a:pt x="1000125" y="5715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tx1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6CD10DA7-CF42-4267-9A48-5E227F1003D3}"/>
              </a:ext>
            </a:extLst>
          </p:cNvPr>
          <p:cNvSpPr txBox="1"/>
          <p:nvPr/>
        </p:nvSpPr>
        <p:spPr>
          <a:xfrm>
            <a:off x="5903399" y="2293423"/>
            <a:ext cx="1339075" cy="23428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r>
              <a:rPr lang="ja-JP" altLang="en-US" sz="1050" dirty="0">
                <a:latin typeface="Meiryo UI" panose="020B0604030504040204" pitchFamily="50" charset="-128"/>
                <a:ea typeface="Meiryo UI" panose="020B0604030504040204" pitchFamily="50" charset="-128"/>
              </a:rPr>
              <a:t>店舗スペース（</a:t>
            </a:r>
            <a:r>
              <a:rPr lang="en-US" altLang="ja-JP" sz="1050" dirty="0">
                <a:latin typeface="Meiryo UI" panose="020B0604030504040204" pitchFamily="50" charset="-128"/>
                <a:ea typeface="Meiryo UI" panose="020B0604030504040204" pitchFamily="50" charset="-128"/>
              </a:rPr>
              <a:t>10</a:t>
            </a:r>
            <a:r>
              <a:rPr lang="ja-JP" altLang="en-US" sz="1050" dirty="0">
                <a:latin typeface="Meiryo UI" panose="020B0604030504040204" pitchFamily="50" charset="-128"/>
                <a:ea typeface="Meiryo UI" panose="020B0604030504040204" pitchFamily="50" charset="-128"/>
              </a:rPr>
              <a:t>台）</a:t>
            </a:r>
          </a:p>
        </p:txBody>
      </p:sp>
      <p:sp>
        <p:nvSpPr>
          <p:cNvPr id="43" name="フリーフォーム: 図形 42">
            <a:extLst>
              <a:ext uri="{FF2B5EF4-FFF2-40B4-BE49-F238E27FC236}">
                <a16:creationId xmlns:a16="http://schemas.microsoft.com/office/drawing/2014/main" id="{5774C4CF-2145-4B3E-9505-B826302E233D}"/>
              </a:ext>
            </a:extLst>
          </p:cNvPr>
          <p:cNvSpPr/>
          <p:nvPr/>
        </p:nvSpPr>
        <p:spPr>
          <a:xfrm flipH="1">
            <a:off x="6124575" y="2501109"/>
            <a:ext cx="516598" cy="404017"/>
          </a:xfrm>
          <a:custGeom>
            <a:avLst/>
            <a:gdLst>
              <a:gd name="connsiteX0" fmla="*/ 1000125 w 1000125"/>
              <a:gd name="connsiteY0" fmla="*/ 571500 h 571500"/>
              <a:gd name="connsiteX1" fmla="*/ 0 w 1000125"/>
              <a:gd name="connsiteY1" fmla="*/ 0 h 57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0125" h="571500">
                <a:moveTo>
                  <a:pt x="1000125" y="571500"/>
                </a:moveTo>
                <a:lnTo>
                  <a:pt x="0" y="0"/>
                </a:lnTo>
              </a:path>
            </a:pathLst>
          </a:custGeom>
          <a:noFill/>
          <a:ln>
            <a:solidFill>
              <a:schemeClr val="tx1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sp>
        <p:nvSpPr>
          <p:cNvPr id="44" name="フリーフォーム: 図形 43">
            <a:extLst>
              <a:ext uri="{FF2B5EF4-FFF2-40B4-BE49-F238E27FC236}">
                <a16:creationId xmlns:a16="http://schemas.microsoft.com/office/drawing/2014/main" id="{4378A09B-381B-4061-9F3C-A427ED76E678}"/>
              </a:ext>
            </a:extLst>
          </p:cNvPr>
          <p:cNvSpPr/>
          <p:nvPr/>
        </p:nvSpPr>
        <p:spPr>
          <a:xfrm rot="21394270">
            <a:off x="8186738" y="3240881"/>
            <a:ext cx="45719" cy="307978"/>
          </a:xfrm>
          <a:custGeom>
            <a:avLst/>
            <a:gdLst>
              <a:gd name="connsiteX0" fmla="*/ 19050 w 19050"/>
              <a:gd name="connsiteY0" fmla="*/ 0 h 300038"/>
              <a:gd name="connsiteX1" fmla="*/ 0 w 19050"/>
              <a:gd name="connsiteY1" fmla="*/ 300038 h 300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050" h="300038">
                <a:moveTo>
                  <a:pt x="19050" y="0"/>
                </a:moveTo>
                <a:lnTo>
                  <a:pt x="0" y="300038"/>
                </a:lnTo>
              </a:path>
            </a:pathLst>
          </a:custGeom>
          <a:noFill/>
          <a:ln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99B04DDE-869D-41AA-9634-3BF5177A9C33}"/>
              </a:ext>
            </a:extLst>
          </p:cNvPr>
          <p:cNvSpPr txBox="1"/>
          <p:nvPr/>
        </p:nvSpPr>
        <p:spPr>
          <a:xfrm>
            <a:off x="7517646" y="3303868"/>
            <a:ext cx="709096" cy="153888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</a:rPr>
              <a:t>幅員 約</a:t>
            </a:r>
            <a:r>
              <a:rPr lang="en-US" altLang="ja-JP" sz="1000" dirty="0">
                <a:latin typeface="Meiryo UI" panose="020B0604030504040204" pitchFamily="50" charset="-128"/>
                <a:ea typeface="Meiryo UI" panose="020B0604030504040204" pitchFamily="50" charset="-128"/>
              </a:rPr>
              <a:t>7</a:t>
            </a:r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</a:rPr>
              <a:t>ｍ</a:t>
            </a:r>
          </a:p>
        </p:txBody>
      </p:sp>
      <p:sp>
        <p:nvSpPr>
          <p:cNvPr id="46" name="フリーフォーム: 図形 45">
            <a:extLst>
              <a:ext uri="{FF2B5EF4-FFF2-40B4-BE49-F238E27FC236}">
                <a16:creationId xmlns:a16="http://schemas.microsoft.com/office/drawing/2014/main" id="{2A79FFBB-AEE0-4FE7-B14D-DD09176FA5FF}"/>
              </a:ext>
            </a:extLst>
          </p:cNvPr>
          <p:cNvSpPr/>
          <p:nvPr/>
        </p:nvSpPr>
        <p:spPr>
          <a:xfrm>
            <a:off x="4391976" y="2822984"/>
            <a:ext cx="3981450" cy="1119731"/>
          </a:xfrm>
          <a:custGeom>
            <a:avLst/>
            <a:gdLst>
              <a:gd name="connsiteX0" fmla="*/ 69850 w 4673600"/>
              <a:gd name="connsiteY0" fmla="*/ 1409700 h 1409700"/>
              <a:gd name="connsiteX1" fmla="*/ 0 w 4673600"/>
              <a:gd name="connsiteY1" fmla="*/ 1193800 h 1409700"/>
              <a:gd name="connsiteX2" fmla="*/ 793750 w 4673600"/>
              <a:gd name="connsiteY2" fmla="*/ 914400 h 1409700"/>
              <a:gd name="connsiteX3" fmla="*/ 692150 w 4673600"/>
              <a:gd name="connsiteY3" fmla="*/ 615950 h 1409700"/>
              <a:gd name="connsiteX4" fmla="*/ 2349500 w 4673600"/>
              <a:gd name="connsiteY4" fmla="*/ 0 h 1409700"/>
              <a:gd name="connsiteX5" fmla="*/ 4673600 w 4673600"/>
              <a:gd name="connsiteY5" fmla="*/ 234950 h 1409700"/>
              <a:gd name="connsiteX6" fmla="*/ 4654550 w 4673600"/>
              <a:gd name="connsiteY6" fmla="*/ 742950 h 1409700"/>
              <a:gd name="connsiteX7" fmla="*/ 2393950 w 4673600"/>
              <a:gd name="connsiteY7" fmla="*/ 539750 h 1409700"/>
              <a:gd name="connsiteX8" fmla="*/ 69850 w 4673600"/>
              <a:gd name="connsiteY8" fmla="*/ 1409700 h 1409700"/>
              <a:gd name="connsiteX0" fmla="*/ 0 w 4603750"/>
              <a:gd name="connsiteY0" fmla="*/ 1409700 h 1409700"/>
              <a:gd name="connsiteX1" fmla="*/ 723900 w 4603750"/>
              <a:gd name="connsiteY1" fmla="*/ 914400 h 1409700"/>
              <a:gd name="connsiteX2" fmla="*/ 622300 w 4603750"/>
              <a:gd name="connsiteY2" fmla="*/ 615950 h 1409700"/>
              <a:gd name="connsiteX3" fmla="*/ 2279650 w 4603750"/>
              <a:gd name="connsiteY3" fmla="*/ 0 h 1409700"/>
              <a:gd name="connsiteX4" fmla="*/ 4603750 w 4603750"/>
              <a:gd name="connsiteY4" fmla="*/ 234950 h 1409700"/>
              <a:gd name="connsiteX5" fmla="*/ 4584700 w 4603750"/>
              <a:gd name="connsiteY5" fmla="*/ 742950 h 1409700"/>
              <a:gd name="connsiteX6" fmla="*/ 2324100 w 4603750"/>
              <a:gd name="connsiteY6" fmla="*/ 539750 h 1409700"/>
              <a:gd name="connsiteX7" fmla="*/ 0 w 4603750"/>
              <a:gd name="connsiteY7" fmla="*/ 1409700 h 1409700"/>
              <a:gd name="connsiteX0" fmla="*/ 158750 w 3981450"/>
              <a:gd name="connsiteY0" fmla="*/ 1104251 h 1104251"/>
              <a:gd name="connsiteX1" fmla="*/ 101600 w 3981450"/>
              <a:gd name="connsiteY1" fmla="*/ 914400 h 1104251"/>
              <a:gd name="connsiteX2" fmla="*/ 0 w 3981450"/>
              <a:gd name="connsiteY2" fmla="*/ 615950 h 1104251"/>
              <a:gd name="connsiteX3" fmla="*/ 1657350 w 3981450"/>
              <a:gd name="connsiteY3" fmla="*/ 0 h 1104251"/>
              <a:gd name="connsiteX4" fmla="*/ 3981450 w 3981450"/>
              <a:gd name="connsiteY4" fmla="*/ 234950 h 1104251"/>
              <a:gd name="connsiteX5" fmla="*/ 3962400 w 3981450"/>
              <a:gd name="connsiteY5" fmla="*/ 742950 h 1104251"/>
              <a:gd name="connsiteX6" fmla="*/ 1701800 w 3981450"/>
              <a:gd name="connsiteY6" fmla="*/ 539750 h 1104251"/>
              <a:gd name="connsiteX7" fmla="*/ 158750 w 3981450"/>
              <a:gd name="connsiteY7" fmla="*/ 1104251 h 1104251"/>
              <a:gd name="connsiteX0" fmla="*/ 158750 w 3981450"/>
              <a:gd name="connsiteY0" fmla="*/ 1110549 h 1110549"/>
              <a:gd name="connsiteX1" fmla="*/ 101600 w 3981450"/>
              <a:gd name="connsiteY1" fmla="*/ 914400 h 1110549"/>
              <a:gd name="connsiteX2" fmla="*/ 0 w 3981450"/>
              <a:gd name="connsiteY2" fmla="*/ 615950 h 1110549"/>
              <a:gd name="connsiteX3" fmla="*/ 1657350 w 3981450"/>
              <a:gd name="connsiteY3" fmla="*/ 0 h 1110549"/>
              <a:gd name="connsiteX4" fmla="*/ 3981450 w 3981450"/>
              <a:gd name="connsiteY4" fmla="*/ 234950 h 1110549"/>
              <a:gd name="connsiteX5" fmla="*/ 3962400 w 3981450"/>
              <a:gd name="connsiteY5" fmla="*/ 742950 h 1110549"/>
              <a:gd name="connsiteX6" fmla="*/ 1701800 w 3981450"/>
              <a:gd name="connsiteY6" fmla="*/ 539750 h 1110549"/>
              <a:gd name="connsiteX7" fmla="*/ 158750 w 3981450"/>
              <a:gd name="connsiteY7" fmla="*/ 1110549 h 1110549"/>
              <a:gd name="connsiteX0" fmla="*/ 165100 w 3981450"/>
              <a:gd name="connsiteY0" fmla="*/ 1110549 h 1110549"/>
              <a:gd name="connsiteX1" fmla="*/ 101600 w 3981450"/>
              <a:gd name="connsiteY1" fmla="*/ 914400 h 1110549"/>
              <a:gd name="connsiteX2" fmla="*/ 0 w 3981450"/>
              <a:gd name="connsiteY2" fmla="*/ 615950 h 1110549"/>
              <a:gd name="connsiteX3" fmla="*/ 1657350 w 3981450"/>
              <a:gd name="connsiteY3" fmla="*/ 0 h 1110549"/>
              <a:gd name="connsiteX4" fmla="*/ 3981450 w 3981450"/>
              <a:gd name="connsiteY4" fmla="*/ 234950 h 1110549"/>
              <a:gd name="connsiteX5" fmla="*/ 3962400 w 3981450"/>
              <a:gd name="connsiteY5" fmla="*/ 742950 h 1110549"/>
              <a:gd name="connsiteX6" fmla="*/ 1701800 w 3981450"/>
              <a:gd name="connsiteY6" fmla="*/ 539750 h 1110549"/>
              <a:gd name="connsiteX7" fmla="*/ 165100 w 3981450"/>
              <a:gd name="connsiteY7" fmla="*/ 1110549 h 1110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81450" h="1110549">
                <a:moveTo>
                  <a:pt x="165100" y="1110549"/>
                </a:moveTo>
                <a:lnTo>
                  <a:pt x="101600" y="914400"/>
                </a:lnTo>
                <a:lnTo>
                  <a:pt x="0" y="615950"/>
                </a:lnTo>
                <a:lnTo>
                  <a:pt x="1657350" y="0"/>
                </a:lnTo>
                <a:lnTo>
                  <a:pt x="3981450" y="234950"/>
                </a:lnTo>
                <a:lnTo>
                  <a:pt x="3962400" y="742950"/>
                </a:lnTo>
                <a:lnTo>
                  <a:pt x="1701800" y="539750"/>
                </a:lnTo>
                <a:lnTo>
                  <a:pt x="165100" y="1110549"/>
                </a:lnTo>
                <a:close/>
              </a:path>
            </a:pathLst>
          </a:custGeom>
          <a:noFill/>
          <a:ln w="15875" cmpd="dbl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372869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eOEkD9QtGAX6d3iIfn2g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97</Words>
  <Application>Microsoft Office PowerPoint</Application>
  <PresentationFormat>ワイド画面</PresentationFormat>
  <Paragraphs>18</Paragraphs>
  <Slides>2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9" baseType="lpstr">
      <vt:lpstr>Meiryo UI</vt:lpstr>
      <vt:lpstr>メイリオ</vt:lpstr>
      <vt:lpstr>游ゴシック</vt:lpstr>
      <vt:lpstr>游ゴシック Light</vt:lpstr>
      <vt:lpstr>Arial</vt:lpstr>
      <vt:lpstr>Office テーマ</vt:lpstr>
      <vt:lpstr>think-cell スライド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三瓶 文美</dc:creator>
  <cp:lastModifiedBy>三瓶 文美</cp:lastModifiedBy>
  <cp:revision>2</cp:revision>
  <dcterms:created xsi:type="dcterms:W3CDTF">2024-02-27T01:59:17Z</dcterms:created>
  <dcterms:modified xsi:type="dcterms:W3CDTF">2024-02-28T00:21:05Z</dcterms:modified>
</cp:coreProperties>
</file>